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256" r:id="rId5"/>
    <p:sldId id="257" r:id="rId6"/>
    <p:sldId id="258" r:id="rId7"/>
    <p:sldId id="259" r:id="rId8"/>
    <p:sldId id="261" r:id="rId9"/>
    <p:sldId id="262" r:id="rId10"/>
  </p:sldIdLst>
  <p:sldSz cx="24382413" cy="13716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1D44"/>
    <a:srgbClr val="3D4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1E2ED6-2C33-4413-9232-6E3C0B61D293}" v="11" dt="2025-09-19T09:47:36.5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7" autoAdjust="0"/>
    <p:restoredTop sz="94507"/>
  </p:normalViewPr>
  <p:slideViewPr>
    <p:cSldViewPr snapToGrid="0">
      <p:cViewPr varScale="1">
        <p:scale>
          <a:sx n="30" d="100"/>
          <a:sy n="30" d="100"/>
        </p:scale>
        <p:origin x="956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89" d="100"/>
          <a:sy n="89" d="100"/>
        </p:scale>
        <p:origin x="3832" y="17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becca Archer" userId="875b7c4b-81cc-40f3-8e2b-59e8ba6b3088" providerId="ADAL" clId="{198A2BF4-E2A7-46C4-841A-A520B3448146}"/>
    <pc:docChg chg="undo custSel addSld delSld modSld">
      <pc:chgData name="Rebecca Archer" userId="875b7c4b-81cc-40f3-8e2b-59e8ba6b3088" providerId="ADAL" clId="{198A2BF4-E2A7-46C4-841A-A520B3448146}" dt="2025-09-19T09:50:21.350" v="171" actId="20577"/>
      <pc:docMkLst>
        <pc:docMk/>
      </pc:docMkLst>
      <pc:sldChg chg="addSp delSp modSp add del mod">
        <pc:chgData name="Rebecca Archer" userId="875b7c4b-81cc-40f3-8e2b-59e8ba6b3088" providerId="ADAL" clId="{198A2BF4-E2A7-46C4-841A-A520B3448146}" dt="2025-09-19T09:42:57.737" v="14" actId="47"/>
        <pc:sldMkLst>
          <pc:docMk/>
          <pc:sldMk cId="2285225563" sldId="260"/>
        </pc:sldMkLst>
        <pc:spChg chg="add del mod">
          <ac:chgData name="Rebecca Archer" userId="875b7c4b-81cc-40f3-8e2b-59e8ba6b3088" providerId="ADAL" clId="{198A2BF4-E2A7-46C4-841A-A520B3448146}" dt="2025-09-19T09:42:45.682" v="11"/>
          <ac:spMkLst>
            <pc:docMk/>
            <pc:sldMk cId="2285225563" sldId="260"/>
            <ac:spMk id="2" creationId="{7A3D26E7-3847-10C2-BCF1-5B0AADDF39DD}"/>
          </ac:spMkLst>
        </pc:spChg>
        <pc:spChg chg="add mod ord">
          <ac:chgData name="Rebecca Archer" userId="875b7c4b-81cc-40f3-8e2b-59e8ba6b3088" providerId="ADAL" clId="{198A2BF4-E2A7-46C4-841A-A520B3448146}" dt="2025-09-19T09:42:13.459" v="5" actId="167"/>
          <ac:spMkLst>
            <pc:docMk/>
            <pc:sldMk cId="2285225563" sldId="260"/>
            <ac:spMk id="3" creationId="{6E42C058-3E01-915E-398B-CE008C15391A}"/>
          </ac:spMkLst>
        </pc:spChg>
        <pc:spChg chg="del">
          <ac:chgData name="Rebecca Archer" userId="875b7c4b-81cc-40f3-8e2b-59e8ba6b3088" providerId="ADAL" clId="{198A2BF4-E2A7-46C4-841A-A520B3448146}" dt="2025-09-19T09:42:07.126" v="2" actId="931"/>
          <ac:spMkLst>
            <pc:docMk/>
            <pc:sldMk cId="2285225563" sldId="260"/>
            <ac:spMk id="9" creationId="{91B238E9-97FF-5667-5A14-552C58F78633}"/>
          </ac:spMkLst>
        </pc:spChg>
        <pc:picChg chg="add mod">
          <ac:chgData name="Rebecca Archer" userId="875b7c4b-81cc-40f3-8e2b-59e8ba6b3088" providerId="ADAL" clId="{198A2BF4-E2A7-46C4-841A-A520B3448146}" dt="2025-09-19T09:42:33.902" v="8" actId="14100"/>
          <ac:picMkLst>
            <pc:docMk/>
            <pc:sldMk cId="2285225563" sldId="260"/>
            <ac:picMk id="5" creationId="{410698CE-460B-0B45-C44F-B2497D3B980A}"/>
          </ac:picMkLst>
        </pc:picChg>
      </pc:sldChg>
      <pc:sldChg chg="addSp delSp modSp new mod">
        <pc:chgData name="Rebecca Archer" userId="875b7c4b-81cc-40f3-8e2b-59e8ba6b3088" providerId="ADAL" clId="{198A2BF4-E2A7-46C4-841A-A520B3448146}" dt="2025-09-19T09:48:13.532" v="147" actId="1076"/>
        <pc:sldMkLst>
          <pc:docMk/>
          <pc:sldMk cId="2909150753" sldId="261"/>
        </pc:sldMkLst>
        <pc:spChg chg="add">
          <ac:chgData name="Rebecca Archer" userId="875b7c4b-81cc-40f3-8e2b-59e8ba6b3088" providerId="ADAL" clId="{198A2BF4-E2A7-46C4-841A-A520B3448146}" dt="2025-09-19T09:43:10.235" v="15" actId="11529"/>
          <ac:spMkLst>
            <pc:docMk/>
            <pc:sldMk cId="2909150753" sldId="261"/>
            <ac:spMk id="2" creationId="{1DD17294-2848-D373-9438-986ADF4E85E6}"/>
          </ac:spMkLst>
        </pc:spChg>
        <pc:picChg chg="add mod">
          <ac:chgData name="Rebecca Archer" userId="875b7c4b-81cc-40f3-8e2b-59e8ba6b3088" providerId="ADAL" clId="{198A2BF4-E2A7-46C4-841A-A520B3448146}" dt="2025-09-19T09:46:32.525" v="117" actId="1076"/>
          <ac:picMkLst>
            <pc:docMk/>
            <pc:sldMk cId="2909150753" sldId="261"/>
            <ac:picMk id="4" creationId="{CF64D3F0-B644-B98D-0F9A-14EBFF5DA7F1}"/>
          </ac:picMkLst>
        </pc:picChg>
        <pc:picChg chg="add mod">
          <ac:chgData name="Rebecca Archer" userId="875b7c4b-81cc-40f3-8e2b-59e8ba6b3088" providerId="ADAL" clId="{198A2BF4-E2A7-46C4-841A-A520B3448146}" dt="2025-09-19T09:46:30.686" v="116" actId="1076"/>
          <ac:picMkLst>
            <pc:docMk/>
            <pc:sldMk cId="2909150753" sldId="261"/>
            <ac:picMk id="6" creationId="{8EA38043-AA9E-93DA-5685-2474B7A81044}"/>
          </ac:picMkLst>
        </pc:picChg>
        <pc:picChg chg="add mod">
          <ac:chgData name="Rebecca Archer" userId="875b7c4b-81cc-40f3-8e2b-59e8ba6b3088" providerId="ADAL" clId="{198A2BF4-E2A7-46C4-841A-A520B3448146}" dt="2025-09-19T09:44:03.418" v="33" actId="1076"/>
          <ac:picMkLst>
            <pc:docMk/>
            <pc:sldMk cId="2909150753" sldId="261"/>
            <ac:picMk id="8" creationId="{2C819B3D-34EA-4771-8983-CA792086712A}"/>
          </ac:picMkLst>
        </pc:picChg>
        <pc:picChg chg="add del mod">
          <ac:chgData name="Rebecca Archer" userId="875b7c4b-81cc-40f3-8e2b-59e8ba6b3088" providerId="ADAL" clId="{198A2BF4-E2A7-46C4-841A-A520B3448146}" dt="2025-09-19T09:46:01.553" v="111" actId="478"/>
          <ac:picMkLst>
            <pc:docMk/>
            <pc:sldMk cId="2909150753" sldId="261"/>
            <ac:picMk id="10" creationId="{202D0593-B0C1-9365-11DF-0C1DDA5DACDE}"/>
          </ac:picMkLst>
        </pc:picChg>
        <pc:picChg chg="add mod">
          <ac:chgData name="Rebecca Archer" userId="875b7c4b-81cc-40f3-8e2b-59e8ba6b3088" providerId="ADAL" clId="{198A2BF4-E2A7-46C4-841A-A520B3448146}" dt="2025-09-19T09:47:58.234" v="141" actId="1076"/>
          <ac:picMkLst>
            <pc:docMk/>
            <pc:sldMk cId="2909150753" sldId="261"/>
            <ac:picMk id="12" creationId="{08214FD3-3457-0E42-F2F7-D24604738737}"/>
          </ac:picMkLst>
        </pc:picChg>
        <pc:picChg chg="add mod">
          <ac:chgData name="Rebecca Archer" userId="875b7c4b-81cc-40f3-8e2b-59e8ba6b3088" providerId="ADAL" clId="{198A2BF4-E2A7-46C4-841A-A520B3448146}" dt="2025-09-19T09:47:56.339" v="140" actId="1076"/>
          <ac:picMkLst>
            <pc:docMk/>
            <pc:sldMk cId="2909150753" sldId="261"/>
            <ac:picMk id="14" creationId="{DCB89983-4A52-2245-4882-B325A0DEC11E}"/>
          </ac:picMkLst>
        </pc:picChg>
        <pc:picChg chg="add mod">
          <ac:chgData name="Rebecca Archer" userId="875b7c4b-81cc-40f3-8e2b-59e8ba6b3088" providerId="ADAL" clId="{198A2BF4-E2A7-46C4-841A-A520B3448146}" dt="2025-09-19T09:48:13.532" v="147" actId="1076"/>
          <ac:picMkLst>
            <pc:docMk/>
            <pc:sldMk cId="2909150753" sldId="261"/>
            <ac:picMk id="16" creationId="{AA7F6677-346D-8806-1D86-7550CD5B417B}"/>
          </ac:picMkLst>
        </pc:picChg>
        <pc:picChg chg="add mod">
          <ac:chgData name="Rebecca Archer" userId="875b7c4b-81cc-40f3-8e2b-59e8ba6b3088" providerId="ADAL" clId="{198A2BF4-E2A7-46C4-841A-A520B3448146}" dt="2025-09-19T09:48:06.441" v="144" actId="1076"/>
          <ac:picMkLst>
            <pc:docMk/>
            <pc:sldMk cId="2909150753" sldId="261"/>
            <ac:picMk id="18" creationId="{FC689E07-AED3-BA2F-5435-21AFE6F067F2}"/>
          </ac:picMkLst>
        </pc:picChg>
      </pc:sldChg>
      <pc:sldChg chg="addSp delSp modSp add mod">
        <pc:chgData name="Rebecca Archer" userId="875b7c4b-81cc-40f3-8e2b-59e8ba6b3088" providerId="ADAL" clId="{198A2BF4-E2A7-46C4-841A-A520B3448146}" dt="2025-09-19T09:50:21.350" v="171" actId="20577"/>
        <pc:sldMkLst>
          <pc:docMk/>
          <pc:sldMk cId="3366768915" sldId="262"/>
        </pc:sldMkLst>
        <pc:spChg chg="add mod">
          <ac:chgData name="Rebecca Archer" userId="875b7c4b-81cc-40f3-8e2b-59e8ba6b3088" providerId="ADAL" clId="{198A2BF4-E2A7-46C4-841A-A520B3448146}" dt="2025-09-19T09:50:21.350" v="171" actId="20577"/>
          <ac:spMkLst>
            <pc:docMk/>
            <pc:sldMk cId="3366768915" sldId="262"/>
            <ac:spMk id="3" creationId="{12E31861-2858-72B5-DDD8-A89878612DFF}"/>
          </ac:spMkLst>
        </pc:spChg>
        <pc:picChg chg="del">
          <ac:chgData name="Rebecca Archer" userId="875b7c4b-81cc-40f3-8e2b-59e8ba6b3088" providerId="ADAL" clId="{198A2BF4-E2A7-46C4-841A-A520B3448146}" dt="2025-09-19T09:44:40.481" v="42" actId="478"/>
          <ac:picMkLst>
            <pc:docMk/>
            <pc:sldMk cId="3366768915" sldId="262"/>
            <ac:picMk id="4" creationId="{9451ECBF-E46D-6E33-A104-E4B48D985FD4}"/>
          </ac:picMkLst>
        </pc:picChg>
        <pc:picChg chg="del">
          <ac:chgData name="Rebecca Archer" userId="875b7c4b-81cc-40f3-8e2b-59e8ba6b3088" providerId="ADAL" clId="{198A2BF4-E2A7-46C4-841A-A520B3448146}" dt="2025-09-19T09:44:39.072" v="41" actId="478"/>
          <ac:picMkLst>
            <pc:docMk/>
            <pc:sldMk cId="3366768915" sldId="262"/>
            <ac:picMk id="6" creationId="{86FAC9EF-0278-EB4F-EDF8-B5D5005DE1B2}"/>
          </ac:picMkLst>
        </pc:picChg>
        <pc:picChg chg="del">
          <ac:chgData name="Rebecca Archer" userId="875b7c4b-81cc-40f3-8e2b-59e8ba6b3088" providerId="ADAL" clId="{198A2BF4-E2A7-46C4-841A-A520B3448146}" dt="2025-09-19T09:44:41.925" v="43" actId="478"/>
          <ac:picMkLst>
            <pc:docMk/>
            <pc:sldMk cId="3366768915" sldId="262"/>
            <ac:picMk id="8" creationId="{BA562F88-E739-F48C-DDF3-A294BE6A3FEF}"/>
          </ac:picMkLst>
        </pc:picChg>
        <pc:picChg chg="mod">
          <ac:chgData name="Rebecca Archer" userId="875b7c4b-81cc-40f3-8e2b-59e8ba6b3088" providerId="ADAL" clId="{198A2BF4-E2A7-46C4-841A-A520B3448146}" dt="2025-09-19T09:44:50.359" v="46" actId="1076"/>
          <ac:picMkLst>
            <pc:docMk/>
            <pc:sldMk cId="3366768915" sldId="262"/>
            <ac:picMk id="10" creationId="{0D63C687-37A4-70FD-5873-B93C4DE4246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41FD0A-46FB-0949-A785-D3725CD63A26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AE337C-4415-594A-8C73-6B85D7391C1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4280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E337C-4415-594A-8C73-6B85D7391C1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8186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E337C-4415-594A-8C73-6B85D7391C10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12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E337C-4415-594A-8C73-6B85D7391C10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7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E337C-4415-594A-8C73-6B85D7391C10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7324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uilding with a bridge over water&#10;&#10;Description automatically generated">
            <a:extLst>
              <a:ext uri="{FF2B5EF4-FFF2-40B4-BE49-F238E27FC236}">
                <a16:creationId xmlns:a16="http://schemas.microsoft.com/office/drawing/2014/main" id="{4E6A8955-62BE-0595-118A-4F9DBEBDD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24382413" cy="137151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9189" y="4507345"/>
            <a:ext cx="10702636" cy="5255490"/>
          </a:xfrm>
        </p:spPr>
        <p:txBody>
          <a:bodyPr lIns="864000" tIns="827999" rIns="360000" bIns="360000" anchor="t" anchorCtr="0">
            <a:normAutofit/>
          </a:bodyPr>
          <a:lstStyle>
            <a:lvl1pPr algn="l">
              <a:lnSpc>
                <a:spcPts val="9070"/>
              </a:lnSpc>
              <a:defRPr sz="8192" b="1" baseline="0">
                <a:solidFill>
                  <a:schemeClr val="bg1"/>
                </a:solidFill>
                <a:latin typeface="National Bold" panose="02000503000000020004" pitchFamily="2" charset="77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147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deo player with a play button&#10;&#10;Description automatically generated">
            <a:extLst>
              <a:ext uri="{FF2B5EF4-FFF2-40B4-BE49-F238E27FC236}">
                <a16:creationId xmlns:a16="http://schemas.microsoft.com/office/drawing/2014/main" id="{22D53B92-1143-D7AC-F8C5-FE6299A918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24382413" cy="137151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5939" y="1264850"/>
            <a:ext cx="8689177" cy="1298448"/>
          </a:xfrm>
        </p:spPr>
        <p:txBody>
          <a:bodyPr lIns="360000" tIns="180000" rIns="0" anchor="t" anchorCtr="0">
            <a:noAutofit/>
          </a:bodyPr>
          <a:lstStyle>
            <a:lvl1pPr>
              <a:lnSpc>
                <a:spcPts val="8830"/>
              </a:lnSpc>
              <a:defRPr sz="7970" b="1" i="0" baseline="0">
                <a:solidFill>
                  <a:schemeClr val="bg1"/>
                </a:solidFill>
                <a:latin typeface="National Bold" panose="02000503000000020004" pitchFamily="2" charset="77"/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ts val="883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effectLst/>
                <a:latin typeface="National Bold" panose="02000503000000020004" pitchFamily="2" charset="77"/>
              </a:rPr>
              <a:t>Watch this video..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88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much do you remember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itting in chairs&#10;&#10;Description automatically generated">
            <a:extLst>
              <a:ext uri="{FF2B5EF4-FFF2-40B4-BE49-F238E27FC236}">
                <a16:creationId xmlns:a16="http://schemas.microsoft.com/office/drawing/2014/main" id="{91FBBEBD-D394-6636-5FC0-2ACA66B2F8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24382413" cy="1371510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E2057B69-A5AF-8B84-7DD4-5BCE2EA94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747" y="1270579"/>
            <a:ext cx="13910072" cy="1517226"/>
          </a:xfrm>
        </p:spPr>
        <p:txBody>
          <a:bodyPr lIns="540000" tIns="216000" anchor="t" anchorCtr="0">
            <a:normAutofit/>
          </a:bodyPr>
          <a:lstStyle>
            <a:lvl1pPr>
              <a:defRPr sz="6800" b="1" i="0" baseline="0">
                <a:solidFill>
                  <a:schemeClr val="bg1"/>
                </a:solidFill>
                <a:latin typeface="National Bold" panose="02000503000000020004" pitchFamily="2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0ECBE32-9364-C3C9-9D6D-479B1A5086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9488" y="5312006"/>
            <a:ext cx="14651037" cy="6226175"/>
          </a:xfrm>
        </p:spPr>
        <p:txBody>
          <a:bodyPr lIns="251999">
            <a:normAutofit/>
          </a:bodyPr>
          <a:lstStyle>
            <a:lvl1pPr marL="1044000" indent="-1044000">
              <a:lnSpc>
                <a:spcPts val="4886"/>
              </a:lnSpc>
              <a:spcBef>
                <a:spcPts val="0"/>
              </a:spcBef>
              <a:spcAft>
                <a:spcPts val="0"/>
              </a:spcAft>
              <a:buClr>
                <a:srgbClr val="B41D44"/>
              </a:buClr>
              <a:buSzPct val="172000"/>
              <a:buFont typeface="+mj-lt"/>
              <a:buAutoNum type="arabicPeriod"/>
              <a:defRPr sz="4600" baseline="0">
                <a:solidFill>
                  <a:srgbClr val="3D4171"/>
                </a:solidFill>
                <a:latin typeface="National Semibold" panose="02000503000000020004" pitchFamily="2" charset="77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 Master tex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BA051D5-CB39-0233-97CF-066603836A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02026" y="2924173"/>
            <a:ext cx="3005138" cy="1023938"/>
          </a:xfrm>
        </p:spPr>
        <p:txBody>
          <a:bodyPr wrap="none">
            <a:noAutofit/>
          </a:bodyPr>
          <a:lstStyle>
            <a:lvl1pPr marL="0" indent="0">
              <a:lnSpc>
                <a:spcPts val="6000"/>
              </a:lnSpc>
              <a:buFontTx/>
              <a:buNone/>
              <a:defRPr sz="4600" baseline="0">
                <a:solidFill>
                  <a:schemeClr val="bg1"/>
                </a:solidFill>
                <a:latin typeface="National Semibold" panose="02000503000000020004" pitchFamily="2" charset="77"/>
              </a:defRPr>
            </a:lvl1pPr>
            <a:lvl2pPr marL="0" indent="0">
              <a:lnSpc>
                <a:spcPts val="6000"/>
              </a:lnSpc>
              <a:buFontTx/>
              <a:buNone/>
              <a:defRPr sz="4600" baseline="0">
                <a:solidFill>
                  <a:schemeClr val="bg1"/>
                </a:solidFill>
                <a:latin typeface="National Semibold" panose="02000503000000020004" pitchFamily="2" charset="77"/>
              </a:defRPr>
            </a:lvl2pPr>
            <a:lvl3pPr marL="0" indent="0">
              <a:lnSpc>
                <a:spcPts val="6000"/>
              </a:lnSpc>
              <a:buFontTx/>
              <a:buNone/>
              <a:defRPr sz="4600" baseline="0">
                <a:solidFill>
                  <a:schemeClr val="bg1"/>
                </a:solidFill>
                <a:latin typeface="National Semibold" panose="02000503000000020004" pitchFamily="2" charset="77"/>
              </a:defRPr>
            </a:lvl3pPr>
            <a:lvl4pPr marL="0" indent="0">
              <a:lnSpc>
                <a:spcPts val="6000"/>
              </a:lnSpc>
              <a:buFontTx/>
              <a:buNone/>
              <a:defRPr sz="4600" baseline="0">
                <a:solidFill>
                  <a:schemeClr val="bg1"/>
                </a:solidFill>
                <a:latin typeface="National Semibold" panose="02000503000000020004" pitchFamily="2" charset="77"/>
              </a:defRPr>
            </a:lvl4pPr>
            <a:lvl5pPr marL="0" indent="0">
              <a:lnSpc>
                <a:spcPts val="6000"/>
              </a:lnSpc>
              <a:buFontTx/>
              <a:buNone/>
              <a:defRPr sz="4600" baseline="0">
                <a:solidFill>
                  <a:schemeClr val="bg1"/>
                </a:solidFill>
                <a:latin typeface="National Semibold" panose="02000503000000020004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1074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use of Lords at 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-up of a card&#10;&#10;Description automatically generated">
            <a:extLst>
              <a:ext uri="{FF2B5EF4-FFF2-40B4-BE49-F238E27FC236}">
                <a16:creationId xmlns:a16="http://schemas.microsoft.com/office/drawing/2014/main" id="{2CB93910-8A7F-9B17-0A92-C2A704B253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24382413" cy="137151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7051" y="1244952"/>
            <a:ext cx="22067486" cy="1531088"/>
          </a:xfrm>
        </p:spPr>
        <p:txBody>
          <a:bodyPr lIns="540000" tIns="108000" anchor="t" anchorCtr="0">
            <a:normAutofit/>
          </a:bodyPr>
          <a:lstStyle>
            <a:lvl1pPr>
              <a:lnSpc>
                <a:spcPts val="8830"/>
              </a:lnSpc>
              <a:defRPr sz="6800" b="1" i="0" baseline="0">
                <a:solidFill>
                  <a:schemeClr val="bg1"/>
                </a:solidFill>
                <a:latin typeface="National Bold" panose="02000503000000020004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24168" y="5145243"/>
            <a:ext cx="6715576" cy="2517430"/>
          </a:xfrm>
        </p:spPr>
        <p:txBody>
          <a:bodyPr wrap="square" lIns="324000" tIns="46800" rIns="72000" numCol="1" spcCol="144000">
            <a:noAutofit/>
          </a:bodyPr>
          <a:lstStyle>
            <a:lvl1pPr marL="0" indent="0">
              <a:lnSpc>
                <a:spcPts val="4886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4600" b="0" i="0" baseline="0">
                <a:solidFill>
                  <a:srgbClr val="3D4171"/>
                </a:solidFill>
                <a:latin typeface="National Semibold" panose="02000503000000020004" pitchFamily="2" charset="77"/>
              </a:defRPr>
            </a:lvl1pPr>
            <a:lvl2pPr marL="914354" indent="0">
              <a:buFontTx/>
              <a:buNone/>
              <a:defRPr/>
            </a:lvl2pPr>
            <a:lvl3pPr marL="1828709" indent="0">
              <a:buFontTx/>
              <a:buNone/>
              <a:defRPr/>
            </a:lvl3pPr>
            <a:lvl4pPr marL="2743063" indent="0">
              <a:buFontTx/>
              <a:buNone/>
              <a:defRPr/>
            </a:lvl4pPr>
            <a:lvl5pPr marL="3657417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679E627-C155-1497-6732-DB1CFF9856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01493" y="3004775"/>
            <a:ext cx="2593975" cy="871538"/>
          </a:xfrm>
        </p:spPr>
        <p:txBody>
          <a:bodyPr wrap="none">
            <a:noAutofit/>
          </a:bodyPr>
          <a:lstStyle>
            <a:lvl1pPr>
              <a:defRPr lang="en-GB" sz="4600" kern="1200" baseline="0" dirty="0" smtClean="0">
                <a:solidFill>
                  <a:schemeClr val="bg1"/>
                </a:solidFill>
                <a:latin typeface="National Semibold" panose="02000503000000020004" pitchFamily="2" charset="77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ts val="6000"/>
              </a:lnSpc>
              <a:spcBef>
                <a:spcPts val="2000"/>
              </a:spcBef>
              <a:buFontTx/>
              <a:buNone/>
            </a:pPr>
            <a:r>
              <a:rPr lang="en-GB" dirty="0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B500D22-D32C-7D6E-F941-F164DE3B7AD0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61752" y="5145243"/>
            <a:ext cx="8416360" cy="2517430"/>
          </a:xfrm>
        </p:spPr>
        <p:txBody>
          <a:bodyPr wrap="square" lIns="324000" tIns="46800" rIns="72000" numCol="1" spcCol="144000">
            <a:noAutofit/>
          </a:bodyPr>
          <a:lstStyle>
            <a:lvl1pPr marL="0" indent="0">
              <a:lnSpc>
                <a:spcPts val="4886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4600" b="0" i="0" baseline="0">
                <a:solidFill>
                  <a:srgbClr val="3D4171"/>
                </a:solidFill>
                <a:latin typeface="National Semibold" panose="02000503000000020004" pitchFamily="2" charset="77"/>
              </a:defRPr>
            </a:lvl1pPr>
            <a:lvl2pPr marL="914354" indent="0">
              <a:buFontTx/>
              <a:buNone/>
              <a:defRPr/>
            </a:lvl2pPr>
            <a:lvl3pPr marL="1828709" indent="0">
              <a:buFontTx/>
              <a:buNone/>
              <a:defRPr/>
            </a:lvl3pPr>
            <a:lvl4pPr marL="2743063" indent="0">
              <a:buFontTx/>
              <a:buNone/>
              <a:defRPr/>
            </a:lvl4pPr>
            <a:lvl5pPr marL="3657417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4AA2BB1-A4FA-882B-A886-4AFE4C80970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6479704" y="5145243"/>
            <a:ext cx="6715576" cy="2517430"/>
          </a:xfrm>
        </p:spPr>
        <p:txBody>
          <a:bodyPr wrap="square" lIns="324000" tIns="46800" rIns="72000" numCol="1" spcCol="144000">
            <a:noAutofit/>
          </a:bodyPr>
          <a:lstStyle>
            <a:lvl1pPr marL="0" indent="0">
              <a:lnSpc>
                <a:spcPts val="4886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4600" b="0" i="0" baseline="0">
                <a:solidFill>
                  <a:srgbClr val="3D4171"/>
                </a:solidFill>
                <a:latin typeface="National Semibold" panose="02000503000000020004" pitchFamily="2" charset="77"/>
              </a:defRPr>
            </a:lvl1pPr>
            <a:lvl2pPr marL="914354" indent="0">
              <a:buFontTx/>
              <a:buNone/>
              <a:defRPr/>
            </a:lvl2pPr>
            <a:lvl3pPr marL="1828709" indent="0">
              <a:buFontTx/>
              <a:buNone/>
              <a:defRPr/>
            </a:lvl3pPr>
            <a:lvl4pPr marL="2743063" indent="0">
              <a:buFontTx/>
              <a:buNone/>
              <a:defRPr/>
            </a:lvl4pPr>
            <a:lvl5pPr marL="3657417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895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in chairs&#10;&#10;Description automatically generated">
            <a:extLst>
              <a:ext uri="{FF2B5EF4-FFF2-40B4-BE49-F238E27FC236}">
                <a16:creationId xmlns:a16="http://schemas.microsoft.com/office/drawing/2014/main" id="{68B1869A-FFC3-3DC5-BD6E-CDE1A11B1A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24382413" cy="13715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439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291" y="730251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291" y="3651250"/>
            <a:ext cx="21029831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750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6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5neyxSUrUJs?feature=oembed" TargetMode="Externa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992E4-471D-8A18-294F-7DC49F376C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>
                <a:effectLst/>
                <a:latin typeface="Gill Sans MT" panose="020B0502020104020203" pitchFamily="34" charset="0"/>
              </a:rPr>
              <a:t>Let’s get ready to meet a member of the House of Lords!</a:t>
            </a:r>
            <a:endParaRPr lang="en-GB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116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79781A-7172-3821-8358-F375A083B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7200" b="1" dirty="0">
                <a:effectLst/>
                <a:latin typeface="Gill Sans MT" panose="020B0502020104020203" pitchFamily="34" charset="0"/>
              </a:rPr>
              <a:t>Watch this video...</a:t>
            </a:r>
            <a:br>
              <a:rPr lang="en-GB" dirty="0">
                <a:effectLst/>
                <a:latin typeface="National Bold" panose="02000503000000020004" pitchFamily="2" charset="77"/>
              </a:rPr>
            </a:br>
            <a:br>
              <a:rPr lang="en-GB" dirty="0">
                <a:effectLst/>
                <a:latin typeface="National Bold" panose="02000503000000020004" pitchFamily="2" charset="77"/>
              </a:rPr>
            </a:br>
            <a:endParaRPr lang="en-GB" dirty="0"/>
          </a:p>
        </p:txBody>
      </p:sp>
      <p:pic>
        <p:nvPicPr>
          <p:cNvPr id="7" name="Online Media 2" descr="What is the House of Lords: A guide for primary school students">
            <a:hlinkClick r:id="" action="ppaction://media"/>
            <a:extLst>
              <a:ext uri="{FF2B5EF4-FFF2-40B4-BE49-F238E27FC236}">
                <a16:creationId xmlns:a16="http://schemas.microsoft.com/office/drawing/2014/main" id="{6A0BE408-3E74-60EC-44D0-0B2665EB5B04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3875377" y="3584287"/>
            <a:ext cx="16615496" cy="838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22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827F-F6F4-B88F-808E-D74B9B35A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Gill Sans MT" panose="020B0502020104020203" pitchFamily="34" charset="0"/>
              </a:rPr>
              <a:t>How much do you remember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DC5B210-3EC4-50FC-0628-B13D88A8D4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1044000" indent="-1044000">
              <a:spcAft>
                <a:spcPts val="6500"/>
              </a:spcAft>
              <a:buSzPct val="184000"/>
              <a:buNone/>
            </a:pPr>
            <a:r>
              <a:rPr lang="en-GB" sz="8490" b="1" dirty="0">
                <a:solidFill>
                  <a:srgbClr val="B41D44"/>
                </a:solidFill>
                <a:latin typeface="Gill Sans MT" panose="020B0502020104020203" pitchFamily="34" charset="0"/>
                <a:ea typeface="National Semibold" panose="02000503000000020004" pitchFamily="2" charset="77"/>
              </a:rPr>
              <a:t>1.</a:t>
            </a:r>
            <a:r>
              <a:rPr lang="en-GB" dirty="0">
                <a:latin typeface="Gill Sans MT" panose="020B0502020104020203" pitchFamily="34" charset="0"/>
              </a:rPr>
              <a:t>	What are the two Houses of Parliament called?</a:t>
            </a:r>
          </a:p>
          <a:p>
            <a:pPr marL="1044000" indent="-1044000">
              <a:spcAft>
                <a:spcPts val="7300"/>
              </a:spcAft>
              <a:buSzPct val="184000"/>
              <a:buNone/>
            </a:pPr>
            <a:r>
              <a:rPr lang="en-GB" sz="8490" b="1" dirty="0">
                <a:solidFill>
                  <a:srgbClr val="B41D44"/>
                </a:solidFill>
                <a:latin typeface="Gill Sans MT" panose="020B0502020104020203" pitchFamily="34" charset="0"/>
                <a:ea typeface="National Semibold" panose="02000503000000020004" pitchFamily="2" charset="77"/>
              </a:rPr>
              <a:t>2</a:t>
            </a:r>
            <a:r>
              <a:rPr lang="en-GB" sz="8490" b="1" dirty="0">
                <a:solidFill>
                  <a:srgbClr val="B41D44"/>
                </a:solidFill>
                <a:ea typeface="National Semibold" panose="02000503000000020004" pitchFamily="2" charset="77"/>
              </a:rPr>
              <a:t>.</a:t>
            </a:r>
            <a:r>
              <a:rPr lang="en-GB" dirty="0">
                <a:latin typeface="Gill Sans MT" panose="020B0502020104020203" pitchFamily="34" charset="0"/>
                <a:ea typeface="National Extrabold" panose="02000503000000020004" pitchFamily="2" charset="77"/>
              </a:rPr>
              <a:t>	How many</a:t>
            </a:r>
            <a:r>
              <a:rPr lang="en-GB" dirty="0">
                <a:latin typeface="Gill Sans MT" panose="020B0502020104020203" pitchFamily="34" charset="0"/>
                <a:ea typeface="National Semibold" panose="02000503000000020004" pitchFamily="2" charset="77"/>
              </a:rPr>
              <a:t> members of the House of Lords are there?</a:t>
            </a:r>
          </a:p>
          <a:p>
            <a:pPr marL="1044000" indent="-1044000">
              <a:lnSpc>
                <a:spcPts val="5870"/>
              </a:lnSpc>
              <a:buSzPct val="184000"/>
              <a:buNone/>
              <a:tabLst>
                <a:tab pos="1057275" algn="r"/>
              </a:tabLst>
            </a:pPr>
            <a:r>
              <a:rPr lang="en-GB" sz="8490" b="1" dirty="0">
                <a:solidFill>
                  <a:srgbClr val="B41D44"/>
                </a:solidFill>
                <a:latin typeface="Gill Sans MT" panose="020B0502020104020203" pitchFamily="34" charset="0"/>
                <a:ea typeface="National Semibold" panose="02000503000000020004" pitchFamily="2" charset="77"/>
              </a:rPr>
              <a:t>3.</a:t>
            </a:r>
            <a:r>
              <a:rPr lang="en-GB" dirty="0">
                <a:latin typeface="Gill Sans MT" panose="020B0502020104020203" pitchFamily="34" charset="0"/>
              </a:rPr>
              <a:t>		Members are chosen for their specialist experience </a:t>
            </a:r>
            <a:br>
              <a:rPr lang="en-GB" dirty="0">
                <a:latin typeface="Gill Sans MT" panose="020B0502020104020203" pitchFamily="34" charset="0"/>
              </a:rPr>
            </a:br>
            <a:r>
              <a:rPr lang="en-GB" dirty="0">
                <a:latin typeface="Gill Sans MT" panose="020B0502020104020203" pitchFamily="34" charset="0"/>
              </a:rPr>
              <a:t>in different jobs, can you remember three of </a:t>
            </a:r>
            <a:br>
              <a:rPr lang="en-GB" dirty="0">
                <a:latin typeface="Gill Sans MT" panose="020B0502020104020203" pitchFamily="34" charset="0"/>
              </a:rPr>
            </a:br>
            <a:r>
              <a:rPr lang="en-GB" dirty="0">
                <a:latin typeface="Gill Sans MT" panose="020B0502020104020203" pitchFamily="34" charset="0"/>
              </a:rPr>
              <a:t>these job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8129DA-450B-ABE2-8E1E-6B5F8B7C32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>
                <a:latin typeface="Gill Sans MT" panose="020B0502020104020203" pitchFamily="34" charset="0"/>
              </a:rPr>
              <a:t>3 minutes</a:t>
            </a:r>
          </a:p>
        </p:txBody>
      </p:sp>
    </p:spTree>
    <p:extLst>
      <p:ext uri="{BB962C8B-B14F-4D97-AF65-F5344CB8AC3E}">
        <p14:creationId xmlns:p14="http://schemas.microsoft.com/office/powerpoint/2010/main" val="1978481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9065B45-F4FF-88D6-08E6-44C74884A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pc="-150" dirty="0">
                <a:latin typeface="Gill Sans MT" panose="020B0502020104020203" pitchFamily="34" charset="0"/>
              </a:rPr>
              <a:t>You’re about to see a picture of the House of Lords at work...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A244F30B-213D-988D-0F70-7D1367D35B8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wrap="none" lIns="324000" rIns="90000" numCol="1" spcCol="0">
            <a:noAutofit/>
          </a:bodyPr>
          <a:lstStyle/>
          <a:p>
            <a:pPr>
              <a:spcAft>
                <a:spcPts val="800"/>
              </a:spcAft>
            </a:pPr>
            <a:r>
              <a:rPr lang="en-GB" dirty="0">
                <a:solidFill>
                  <a:srgbClr val="3D4070"/>
                </a:solidFill>
                <a:effectLst/>
                <a:latin typeface="Gill Sans MT" panose="020B0502020104020203" pitchFamily="34" charset="0"/>
              </a:rPr>
              <a:t>Write down </a:t>
            </a:r>
          </a:p>
          <a:p>
            <a:pPr>
              <a:spcAft>
                <a:spcPts val="800"/>
              </a:spcAft>
            </a:pPr>
            <a:r>
              <a:rPr lang="en-GB" dirty="0">
                <a:solidFill>
                  <a:srgbClr val="3D4070"/>
                </a:solidFill>
                <a:effectLst/>
                <a:latin typeface="Gill Sans MT" panose="020B0502020104020203" pitchFamily="34" charset="0"/>
              </a:rPr>
              <a:t>three questions for </a:t>
            </a:r>
          </a:p>
          <a:p>
            <a:pPr>
              <a:spcAft>
                <a:spcPts val="800"/>
              </a:spcAft>
            </a:pPr>
            <a:r>
              <a:rPr lang="en-GB" dirty="0">
                <a:solidFill>
                  <a:srgbClr val="3D4070"/>
                </a:solidFill>
                <a:effectLst/>
                <a:latin typeface="Gill Sans MT" panose="020B0502020104020203" pitchFamily="34" charset="0"/>
              </a:rPr>
              <a:t>your Baroness or Lord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CF80C29-6FA5-FDAA-2A1D-D4C8ADB0B9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>
                <a:latin typeface="Gill Sans MT" panose="020B0502020104020203" pitchFamily="34" charset="0"/>
              </a:rPr>
              <a:t>5 minut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A46804F-D344-73DC-2969-7ACF2B9F50DB}"/>
              </a:ext>
            </a:extLst>
          </p:cNvPr>
          <p:cNvSpPr>
            <a:spLocks noGrp="1"/>
          </p:cNvSpPr>
          <p:nvPr>
            <p:ph sz="half" idx="15"/>
          </p:nvPr>
        </p:nvSpPr>
        <p:spPr/>
        <p:txBody>
          <a:bodyPr/>
          <a:lstStyle/>
          <a:p>
            <a:pPr>
              <a:spcAft>
                <a:spcPts val="800"/>
              </a:spcAft>
            </a:pPr>
            <a:r>
              <a:rPr lang="en-GB" dirty="0">
                <a:latin typeface="Gill Sans MT" panose="020B0502020104020203" pitchFamily="34" charset="0"/>
              </a:rPr>
              <a:t>What do you notice? </a:t>
            </a:r>
          </a:p>
          <a:p>
            <a:pPr>
              <a:spcAft>
                <a:spcPts val="800"/>
              </a:spcAft>
            </a:pPr>
            <a:r>
              <a:rPr lang="en-GB" dirty="0">
                <a:latin typeface="Gill Sans MT" panose="020B0502020104020203" pitchFamily="34" charset="0"/>
              </a:rPr>
              <a:t>What are your eyes drawn to?</a:t>
            </a:r>
          </a:p>
          <a:p>
            <a:pPr>
              <a:spcAft>
                <a:spcPts val="800"/>
              </a:spcAft>
            </a:pPr>
            <a:r>
              <a:rPr lang="en-GB" dirty="0">
                <a:latin typeface="Gill Sans MT" panose="020B0502020104020203" pitchFamily="34" charset="0"/>
              </a:rPr>
              <a:t>What do you find interesting?</a:t>
            </a:r>
          </a:p>
          <a:p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6171B251-561B-66F2-F5F0-96A03A927A52}"/>
              </a:ext>
            </a:extLst>
          </p:cNvPr>
          <p:cNvSpPr>
            <a:spLocks noGrp="1"/>
          </p:cNvSpPr>
          <p:nvPr>
            <p:ph sz="half" idx="16"/>
          </p:nvPr>
        </p:nvSpPr>
        <p:spPr/>
        <p:txBody>
          <a:bodyPr/>
          <a:lstStyle/>
          <a:p>
            <a:r>
              <a:rPr lang="en-GB" dirty="0">
                <a:latin typeface="Gill Sans MT" panose="020B0502020104020203" pitchFamily="34" charset="0"/>
              </a:rPr>
              <a:t>Share your ideas!</a:t>
            </a:r>
          </a:p>
        </p:txBody>
      </p:sp>
    </p:spTree>
    <p:extLst>
      <p:ext uri="{BB962C8B-B14F-4D97-AF65-F5344CB8AC3E}">
        <p14:creationId xmlns:p14="http://schemas.microsoft.com/office/powerpoint/2010/main" val="100399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D17294-2848-D373-9438-986ADF4E85E6}"/>
              </a:ext>
            </a:extLst>
          </p:cNvPr>
          <p:cNvSpPr/>
          <p:nvPr/>
        </p:nvSpPr>
        <p:spPr>
          <a:xfrm>
            <a:off x="1765005" y="1318437"/>
            <a:ext cx="20946139" cy="1059002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child and child standing next to each other&#10;&#10;AI-generated content may be incorrect.">
            <a:extLst>
              <a:ext uri="{FF2B5EF4-FFF2-40B4-BE49-F238E27FC236}">
                <a16:creationId xmlns:a16="http://schemas.microsoft.com/office/drawing/2014/main" id="{CF64D3F0-B644-B98D-0F9A-14EBFF5DA7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206" y="6738384"/>
            <a:ext cx="5799082" cy="4349312"/>
          </a:xfrm>
          <a:prstGeom prst="rect">
            <a:avLst/>
          </a:prstGeom>
        </p:spPr>
      </p:pic>
      <p:pic>
        <p:nvPicPr>
          <p:cNvPr id="6" name="Picture 5" descr="A child and child in school uniforms&#10;&#10;AI-generated content may be incorrect.">
            <a:extLst>
              <a:ext uri="{FF2B5EF4-FFF2-40B4-BE49-F238E27FC236}">
                <a16:creationId xmlns:a16="http://schemas.microsoft.com/office/drawing/2014/main" id="{8EA38043-AA9E-93DA-5685-2474B7A81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0143" y="6858000"/>
            <a:ext cx="5480106" cy="4110080"/>
          </a:xfrm>
          <a:prstGeom prst="rect">
            <a:avLst/>
          </a:prstGeom>
        </p:spPr>
      </p:pic>
      <p:pic>
        <p:nvPicPr>
          <p:cNvPr id="8" name="Picture 7" descr="A couple of children in blue sweaters&#10;&#10;AI-generated content may be incorrect.">
            <a:extLst>
              <a:ext uri="{FF2B5EF4-FFF2-40B4-BE49-F238E27FC236}">
                <a16:creationId xmlns:a16="http://schemas.microsoft.com/office/drawing/2014/main" id="{2C819B3D-34EA-4771-8983-CA7920867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0764" y="7232797"/>
            <a:ext cx="5139865" cy="3854899"/>
          </a:xfrm>
          <a:prstGeom prst="rect">
            <a:avLst/>
          </a:prstGeom>
        </p:spPr>
      </p:pic>
      <p:pic>
        <p:nvPicPr>
          <p:cNvPr id="12" name="Picture 11" descr="A child and child standing in front of a bush&#10;&#10;AI-generated content may be incorrect.">
            <a:extLst>
              <a:ext uri="{FF2B5EF4-FFF2-40B4-BE49-F238E27FC236}">
                <a16:creationId xmlns:a16="http://schemas.microsoft.com/office/drawing/2014/main" id="{08214FD3-3457-0E42-F2F7-D246047387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0673" y="2892629"/>
            <a:ext cx="4033314" cy="3024986"/>
          </a:xfrm>
          <a:prstGeom prst="rect">
            <a:avLst/>
          </a:prstGeom>
        </p:spPr>
      </p:pic>
      <p:pic>
        <p:nvPicPr>
          <p:cNvPr id="14" name="Picture 13" descr="A child and child smiling for a picture&#10;&#10;AI-generated content may be incorrect.">
            <a:extLst>
              <a:ext uri="{FF2B5EF4-FFF2-40B4-BE49-F238E27FC236}">
                <a16:creationId xmlns:a16="http://schemas.microsoft.com/office/drawing/2014/main" id="{DCB89983-4A52-2245-4882-B325A0DEC1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1264" y="2894990"/>
            <a:ext cx="4033315" cy="3024986"/>
          </a:xfrm>
          <a:prstGeom prst="rect">
            <a:avLst/>
          </a:prstGeom>
        </p:spPr>
      </p:pic>
      <p:pic>
        <p:nvPicPr>
          <p:cNvPr id="16" name="Picture 15" descr="A couple of children smiling&#10;&#10;AI-generated content may be incorrect.">
            <a:extLst>
              <a:ext uri="{FF2B5EF4-FFF2-40B4-BE49-F238E27FC236}">
                <a16:creationId xmlns:a16="http://schemas.microsoft.com/office/drawing/2014/main" id="{AA7F6677-346D-8806-1D86-7550CD5B41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232" y="2746138"/>
            <a:ext cx="4316868" cy="3237651"/>
          </a:xfrm>
          <a:prstGeom prst="rect">
            <a:avLst/>
          </a:prstGeom>
        </p:spPr>
      </p:pic>
      <p:pic>
        <p:nvPicPr>
          <p:cNvPr id="18" name="Picture 17" descr="Two children smiling in front of a bush&#10;&#10;AI-generated content may be incorrect.">
            <a:extLst>
              <a:ext uri="{FF2B5EF4-FFF2-40B4-BE49-F238E27FC236}">
                <a16:creationId xmlns:a16="http://schemas.microsoft.com/office/drawing/2014/main" id="{FC689E07-AED3-BA2F-5435-21AFE6F067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8834" y="2746138"/>
            <a:ext cx="4542105" cy="340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1507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765919-4356-14C4-8177-D165FCAF9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2205E3-2CE1-A1AB-C687-94E458740D63}"/>
              </a:ext>
            </a:extLst>
          </p:cNvPr>
          <p:cNvSpPr/>
          <p:nvPr/>
        </p:nvSpPr>
        <p:spPr>
          <a:xfrm>
            <a:off x="1765005" y="1318437"/>
            <a:ext cx="20946139" cy="1059002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Two girls in blue and white uniforms&#10;&#10;AI-generated content may be incorrect.">
            <a:extLst>
              <a:ext uri="{FF2B5EF4-FFF2-40B4-BE49-F238E27FC236}">
                <a16:creationId xmlns:a16="http://schemas.microsoft.com/office/drawing/2014/main" id="{0D63C687-37A4-70FD-5873-B93C4DE424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1" y="2743498"/>
            <a:ext cx="10972005" cy="822900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2E31861-2858-72B5-DDD8-A89878612DFF}"/>
              </a:ext>
            </a:extLst>
          </p:cNvPr>
          <p:cNvSpPr txBox="1"/>
          <p:nvPr/>
        </p:nvSpPr>
        <p:spPr>
          <a:xfrm>
            <a:off x="15374679" y="3934047"/>
            <a:ext cx="6251944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600" dirty="0">
                <a:solidFill>
                  <a:schemeClr val="bg1"/>
                </a:solidFill>
              </a:rPr>
              <a:t>Trust Parliament Members (Ambassadors of Hope) – Daniel and Felicity</a:t>
            </a:r>
          </a:p>
        </p:txBody>
      </p:sp>
    </p:spTree>
    <p:extLst>
      <p:ext uri="{BB962C8B-B14F-4D97-AF65-F5344CB8AC3E}">
        <p14:creationId xmlns:p14="http://schemas.microsoft.com/office/powerpoint/2010/main" val="3366768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qgsAAAAAAAAAAAAAIAD///////////////8AAAD///////////////8DAAAAAgD///////8DAAAAAgD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7k76FbY+Q9ImY0xp8KEuV4EAAAAAAADAAAAAAADAAAAAwADAAAAAAADAAAAAwADAAAAAAADAAAABAADAAAAAAADAAAABAADAAIA////////BQAAAAMAEAAL6BJBga+MS0q3K3Q9zffBawQAAAABAAMAAAACAAMAAAAEAAMAAAACAAMAAAAEAAQABgD///////8FAAAABAAQAAspXqnT2kQqQrHtsOLbzgQKBAAAAAIAAwAAAAMAAwAAAAEAAwAAAAMA////////AwAAAAIA////////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uTvoVtj5D0iZjTGnwoS5XgNEYXRhAFMAAAAIUHJlc2VudGF0aW9uU2Nhbm5lZEZvckxpbmtlZFNoYXBlcwAAAk51bWJlckZvcm1hdFNlcGFyYXRvck1vZGUACgAAAEF1dG9tYXRpYwAAAk5hbWUAJAAAAExpbmtlZFNoYXBlUHJlc2VudGF0aW9uU2V0dGluZ3NEYXRhABBWZXJzaW9uAAAAAAAJTGFzdFdyaXRlAJrIkZaTAQAAAAEA/////4MAgwAAAAVfaWQAEAAAAAToEkGBr4xLSrcrdD3N98FrA0RhdGEAGwAAAARMaW5rZWRTaGFwZURhdGEABQAAAAAAAk5hbWUAGQAAAExpbmtlZFNoYXBlc0RhdGFQcm9wZXJ0eQAQVmVyc2lvbgAAAAAACUxhc3RXcml0ZQBtyJGWkwEAAAACAP////+DAIMAAAAFX2lkABAAAAAEKV6p09pEKkKx7bDi284ECgNEYXRhABsAAAAETGlua2VkU2hhcGVEYXRhAAUAAAAAAAJOYW1lABkAAABMaW5rZWRTaGFwZXNEYXRhUHJvcGVydHkAEFZlcnNpb24AAQAAAAlMYXN0V3JpdGUAksiRlp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BCwAAAAAAAAAAAAAgAf///////////////wAAAP///////////////wUAAAACAP///////wUAAAACAP///////wUAAAAC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JQAGTGlua2VkU2hhcGVQcmVzZW50YXRpb25TZXR0aW5nc0RhdGFfMAQAAAAAAAUAAAAAAAUAAAADAAUAAAAAAAUAAAADAAUAAAAAAAUAAAAEAAUAAAAAAAUAAAAEAAMAAgEDAAAAAwD///////8aAAZMaW5rZWRTaGFwZXNEYXRhUHJvcGVydHlfMAQAAAABAAUAAAACAAUAAAAEAAUAAAACAAUAAAAEAAQABgEDAAAABAD///////8aAAZMaW5rZWRTaGFwZXNEYXRhUHJvcGVydHlfMQQAAAACAAUAAAADAAUAAAABAAUAAAADAP///////wUAAAACAP///////wUAAAAC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89947568952126"/>
  <p:tag name="EMPOWERCHARTSPROPERTIES_A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B058117E170647BAC39EAE48E27E37" ma:contentTypeVersion="16" ma:contentTypeDescription="Create a new document." ma:contentTypeScope="" ma:versionID="ab397e70ae581dbbb76d292e8553f3e0">
  <xsd:schema xmlns:xsd="http://www.w3.org/2001/XMLSchema" xmlns:xs="http://www.w3.org/2001/XMLSchema" xmlns:p="http://schemas.microsoft.com/office/2006/metadata/properties" xmlns:ns2="ee1eca0b-71b6-4494-bb1d-e813ecb41ac9" xmlns:ns3="9146cdb8-42ab-4c82-ae8c-e86206c9830b" targetNamespace="http://schemas.microsoft.com/office/2006/metadata/properties" ma:root="true" ma:fieldsID="c3ae9dde4281143e80328507c88b9389" ns2:_="" ns3:_="">
    <xsd:import namespace="ee1eca0b-71b6-4494-bb1d-e813ecb41ac9"/>
    <xsd:import namespace="9146cdb8-42ab-4c82-ae8c-e86206c983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1eca0b-71b6-4494-bb1d-e813ecb41ac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description="" ma:indexed="true" ma:internalName="MediaServiceLocatio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cfc646e7-1ca0-4c93-8f68-1daae343595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6cdb8-42ab-4c82-ae8c-e86206c9830b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3f60b4ff-b301-4a17-afc3-aa75a42c3627}" ma:internalName="TaxCatchAll" ma:showField="CatchAllData" ma:web="9146cdb8-42ab-4c82-ae8c-e86206c983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146cdb8-42ab-4c82-ae8c-e86206c9830b" xsi:nil="true"/>
    <lcf76f155ced4ddcb4097134ff3c332f xmlns="ee1eca0b-71b6-4494-bb1d-e813ecb41ac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2B58F5B-33B0-4497-9BEB-A8EAE60D9E4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2A55FAC-25CE-4C58-A1E3-C8995ABED8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1eca0b-71b6-4494-bb1d-e813ecb41ac9"/>
    <ds:schemaRef ds:uri="9146cdb8-42ab-4c82-ae8c-e86206c983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03F168-8FFB-43CF-906E-6BD2F14B8DD9}">
  <ds:schemaRefs>
    <ds:schemaRef ds:uri="http://schemas.microsoft.com/office/2006/metadata/properties"/>
    <ds:schemaRef ds:uri="http://schemas.microsoft.com/office/infopath/2007/PartnerControls"/>
    <ds:schemaRef ds:uri="742d028d-6c3e-4528-a6d5-c7663071bdee"/>
    <ds:schemaRef ds:uri="4600776d-0a3c-44b4-bff2-0ceaafb13046"/>
    <ds:schemaRef ds:uri="326b8483-fae4-4720-bbf2-7712189e4f16"/>
    <ds:schemaRef ds:uri="9146cdb8-42ab-4c82-ae8c-e86206c9830b"/>
    <ds:schemaRef ds:uri="ee1eca0b-71b6-4494-bb1d-e813ecb41ac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0</TotalTime>
  <Words>141</Words>
  <Application>Microsoft Office PowerPoint</Application>
  <PresentationFormat>Custom</PresentationFormat>
  <Paragraphs>21</Paragraphs>
  <Slides>6</Slides>
  <Notes>4</Notes>
  <HiddenSlides>0</HiddenSlides>
  <MMClips>1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ptos Display</vt:lpstr>
      <vt:lpstr>Arial</vt:lpstr>
      <vt:lpstr>Gill Sans MT</vt:lpstr>
      <vt:lpstr>National Bold</vt:lpstr>
      <vt:lpstr>National Semibold</vt:lpstr>
      <vt:lpstr>Office Theme</vt:lpstr>
      <vt:lpstr>Let’s get ready to meet a member of the House of Lords!</vt:lpstr>
      <vt:lpstr>Watch this video...  </vt:lpstr>
      <vt:lpstr>How much do you remember?</vt:lpstr>
      <vt:lpstr>You’re about to see a picture of the House of Lords at work...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t’s get ready to meet a member of the House of Lords!</dc:title>
  <dc:creator>Helen O'Hara</dc:creator>
  <cp:lastModifiedBy>Rebecca Archer</cp:lastModifiedBy>
  <cp:revision>4</cp:revision>
  <dcterms:created xsi:type="dcterms:W3CDTF">2024-12-05T11:26:41Z</dcterms:created>
  <dcterms:modified xsi:type="dcterms:W3CDTF">2025-09-19T09:5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8f77787-5df4-43b6-a2a8-8d8b678a318b_Enabled">
    <vt:lpwstr>true</vt:lpwstr>
  </property>
  <property fmtid="{D5CDD505-2E9C-101B-9397-08002B2CF9AE}" pid="3" name="MSIP_Label_a8f77787-5df4-43b6-a2a8-8d8b678a318b_SetDate">
    <vt:lpwstr>2024-12-10T11:22:02Z</vt:lpwstr>
  </property>
  <property fmtid="{D5CDD505-2E9C-101B-9397-08002B2CF9AE}" pid="4" name="MSIP_Label_a8f77787-5df4-43b6-a2a8-8d8b678a318b_Method">
    <vt:lpwstr>Standard</vt:lpwstr>
  </property>
  <property fmtid="{D5CDD505-2E9C-101B-9397-08002B2CF9AE}" pid="5" name="MSIP_Label_a8f77787-5df4-43b6-a2a8-8d8b678a318b_Name">
    <vt:lpwstr>a8f77787-5df4-43b6-a2a8-8d8b678a318b</vt:lpwstr>
  </property>
  <property fmtid="{D5CDD505-2E9C-101B-9397-08002B2CF9AE}" pid="6" name="MSIP_Label_a8f77787-5df4-43b6-a2a8-8d8b678a318b_SiteId">
    <vt:lpwstr>1ce6dd9e-b337-4088-be5e-8dbbec04b34a</vt:lpwstr>
  </property>
  <property fmtid="{D5CDD505-2E9C-101B-9397-08002B2CF9AE}" pid="7" name="MSIP_Label_a8f77787-5df4-43b6-a2a8-8d8b678a318b_ActionId">
    <vt:lpwstr>4f210507-f834-4bf6-8e19-136ba0cf640d</vt:lpwstr>
  </property>
  <property fmtid="{D5CDD505-2E9C-101B-9397-08002B2CF9AE}" pid="8" name="MSIP_Label_a8f77787-5df4-43b6-a2a8-8d8b678a318b_ContentBits">
    <vt:lpwstr>0</vt:lpwstr>
  </property>
  <property fmtid="{D5CDD505-2E9C-101B-9397-08002B2CF9AE}" pid="9" name="_dlc_DocIdItemGuid">
    <vt:lpwstr>5ee07b83-aa09-483a-8fa6-054a68acc912</vt:lpwstr>
  </property>
  <property fmtid="{D5CDD505-2E9C-101B-9397-08002B2CF9AE}" pid="10" name="ContentTypeId">
    <vt:lpwstr>0x0101001AB058117E170647BAC39EAE48E27E37</vt:lpwstr>
  </property>
  <property fmtid="{D5CDD505-2E9C-101B-9397-08002B2CF9AE}" pid="11" name="MediaServiceImageTags">
    <vt:lpwstr/>
  </property>
</Properties>
</file>